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7" d="100"/>
          <a:sy n="37" d="100"/>
        </p:scale>
        <p:origin x="95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EAB56B-7C16-4122-8BBB-C55B4ACD160E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4E22E-42FF-4B1C-9C8E-7DD1AA5D450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1904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09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3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0348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17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0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8108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73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134088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5.png"/><Relationship Id="rId3" Type="http://schemas.openxmlformats.org/officeDocument/2006/relationships/tags" Target="../tags/tag6.xml"/><Relationship Id="rId21" Type="http://schemas.openxmlformats.org/officeDocument/2006/relationships/image" Target="../media/image8.sv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10.svg"/><Relationship Id="rId10" Type="http://schemas.openxmlformats.org/officeDocument/2006/relationships/tags" Target="../tags/tag13.xml"/><Relationship Id="rId19" Type="http://schemas.openxmlformats.org/officeDocument/2006/relationships/image" Target="../media/image6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5.xml"/><Relationship Id="rId22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Freihandform: Form 27">
            <a:extLst>
              <a:ext uri="{FF2B5EF4-FFF2-40B4-BE49-F238E27FC236}">
                <a16:creationId xmlns:a16="http://schemas.microsoft.com/office/drawing/2014/main" id="{09A71940-F7EC-CBE7-E69D-C836239FC9E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609951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28">
            <a:extLst>
              <a:ext uri="{FF2B5EF4-FFF2-40B4-BE49-F238E27FC236}">
                <a16:creationId xmlns:a16="http://schemas.microsoft.com/office/drawing/2014/main" id="{2E78A565-1CB4-141D-C00D-FA739731470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302635" y="2970537"/>
            <a:ext cx="279054" cy="1385136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eform 34">
            <a:extLst>
              <a:ext uri="{FF2B5EF4-FFF2-40B4-BE49-F238E27FC236}">
                <a16:creationId xmlns:a16="http://schemas.microsoft.com/office/drawing/2014/main" id="{22565494-B436-C0FA-63E2-E07DEB6E139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995680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F3483B59-37CE-6594-D5D0-5F94F98E5FE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302635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6F719483-2CB0-5E18-6980-260D28690C7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609592" y="1871457"/>
            <a:ext cx="3586728" cy="3583400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9466E447-6456-B92E-C5EF-81F27850691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2555" y="4340115"/>
            <a:ext cx="241298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1_content}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BFC0E683-7795-5392-BD01-74083BA96F4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582555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100C25BF-9AAC-C866-077F-985E0191545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889510" y="4340115"/>
            <a:ext cx="241298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2_conttent}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BAF3B332-2604-187C-A9F4-E20104FF236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889510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931E4C43-92E5-0606-E4F9-2E4E15953F6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196466" y="4340115"/>
            <a:ext cx="241298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3_content}</a:t>
            </a: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E32A9EEA-D0B1-59FA-01E5-7199982EDB8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196466" y="3404236"/>
            <a:ext cx="2412981" cy="77713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_description}</a:t>
            </a:r>
          </a:p>
        </p:txBody>
      </p:sp>
      <p:pic>
        <p:nvPicPr>
          <p:cNvPr id="16" name="Grafik 38">
            <a:extLst>
              <a:ext uri="{FF2B5EF4-FFF2-40B4-BE49-F238E27FC236}">
                <a16:creationId xmlns:a16="http://schemas.microsoft.com/office/drawing/2014/main" id="{7B9B01A6-B587-A1E8-0A35-F917B2635C2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51777" y="2441874"/>
            <a:ext cx="888446" cy="888446"/>
          </a:xfrm>
          <a:prstGeom prst="rect">
            <a:avLst/>
          </a:prstGeom>
        </p:spPr>
      </p:pic>
      <p:pic>
        <p:nvPicPr>
          <p:cNvPr id="17" name="Grafik 39">
            <a:extLst>
              <a:ext uri="{FF2B5EF4-FFF2-40B4-BE49-F238E27FC236}">
                <a16:creationId xmlns:a16="http://schemas.microsoft.com/office/drawing/2014/main" id="{D21923EA-1DAA-FA13-C122-CC5E0360CD8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344821" y="2441874"/>
            <a:ext cx="888446" cy="888446"/>
          </a:xfrm>
          <a:prstGeom prst="rect">
            <a:avLst/>
          </a:prstGeom>
        </p:spPr>
      </p:pic>
      <p:pic>
        <p:nvPicPr>
          <p:cNvPr id="18" name="Grafik 40">
            <a:extLst>
              <a:ext uri="{FF2B5EF4-FFF2-40B4-BE49-F238E27FC236}">
                <a16:creationId xmlns:a16="http://schemas.microsoft.com/office/drawing/2014/main" id="{A35AFF02-9B5E-6582-E69F-B8A81EA1A02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013365" y="2496507"/>
            <a:ext cx="779181" cy="779181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F5EC773F-7638-A2E6-B2BE-DFC25A78892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489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, icon, icons, value</a:t>
            </a:r>
          </a:p>
        </p:txBody>
      </p:sp>
    </p:spTree>
    <p:extLst>
      <p:ext uri="{BB962C8B-B14F-4D97-AF65-F5344CB8AC3E}">
        <p14:creationId xmlns:p14="http://schemas.microsoft.com/office/powerpoint/2010/main" val="3876538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kHy9FXL75Hpd+iLh4I8Q4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kHy9FXL75Hpd+iLh4I8Q4DRGF0YQAWAAAAAlBlcnNvbmFsSWQAAQAAAAAAAk5hbWUACwAAAFBlcnNvbmFsSWQAEFZlcnNpb24AAAAAAAlMYXN0V3JpdGUAM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437904"/>
  <p:tag name="EMPOWERCHARTSPROPERTIES_A_LENGTH" val="24576"/>
  <p:tag name="RUNTIME_ID" val="de80cf4b-a5a9-499f-aa9c-c1a9acf2af4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5RGQOjv+NNGhq4ekplQrD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RGQOjv+NNGhq4ekplQrDgDRGF0YQAWAAAAAlBlcnNvbmFsSWQAAQAAAAAAAk5hbWUACwAAAFBlcnNvbmFsSWQAEFZlcnNpb24AAAAAAAlMYXN0V3JpdGUAX8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5750064"/>
  <p:tag name="EMPOWERCHARTSPROPERTIES_A_LENGTH" val="24576"/>
  <p:tag name="RUNTIME_ID" val="b0866ac2-a490-4b76-b567-715564ca31c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s2eXu6QR5GtRqQ5w2a4s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s2eXu6QR5GtRqQ5w2a4soDRGF0YQAWAAAAAlBlcnNvbmFsSWQAAQAAAAAAAk5hbWUACwAAAFBlcnNvbmFsSWQAEFZlcnNpb24AAAAAAAlMYXN0V3JpdGUAlcso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7506379735"/>
  <p:tag name="EMPOWERCHARTSPROPERTIES_A_LENGTH" val="24576"/>
  <p:tag name="RUNTIME_ID" val="478b2f70-2b35-4073-80c2-d20e5c02a43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2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Source Sans Pro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3:44Z</dcterms:created>
  <dcterms:modified xsi:type="dcterms:W3CDTF">2025-09-04T02:45:27Z</dcterms:modified>
</cp:coreProperties>
</file>